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5" r:id="rId5"/>
    <p:sldMasterId id="2147483698" r:id="rId6"/>
  </p:sldMasterIdLst>
  <p:notesMasterIdLst>
    <p:notesMasterId r:id="rId151"/>
  </p:notesMasterIdLst>
  <p:handoutMasterIdLst>
    <p:handoutMasterId r:id="rId152"/>
  </p:handoutMasterIdLst>
  <p:sldIdLst>
    <p:sldId id="650" r:id="rId7"/>
    <p:sldId id="616" r:id="rId8"/>
    <p:sldId id="873" r:id="rId9"/>
    <p:sldId id="869" r:id="rId10"/>
    <p:sldId id="870" r:id="rId11"/>
    <p:sldId id="779" r:id="rId12"/>
    <p:sldId id="736" r:id="rId13"/>
    <p:sldId id="738" r:id="rId14"/>
    <p:sldId id="737" r:id="rId15"/>
    <p:sldId id="739" r:id="rId16"/>
    <p:sldId id="740" r:id="rId17"/>
    <p:sldId id="802" r:id="rId18"/>
    <p:sldId id="803" r:id="rId19"/>
    <p:sldId id="741" r:id="rId20"/>
    <p:sldId id="743" r:id="rId21"/>
    <p:sldId id="742" r:id="rId22"/>
    <p:sldId id="744" r:id="rId23"/>
    <p:sldId id="745" r:id="rId24"/>
    <p:sldId id="746" r:id="rId25"/>
    <p:sldId id="747" r:id="rId26"/>
    <p:sldId id="748" r:id="rId27"/>
    <p:sldId id="751" r:id="rId28"/>
    <p:sldId id="752" r:id="rId29"/>
    <p:sldId id="753" r:id="rId30"/>
    <p:sldId id="754" r:id="rId31"/>
    <p:sldId id="804" r:id="rId32"/>
    <p:sldId id="871" r:id="rId33"/>
    <p:sldId id="872" r:id="rId34"/>
    <p:sldId id="805" r:id="rId35"/>
    <p:sldId id="806" r:id="rId36"/>
    <p:sldId id="807" r:id="rId37"/>
    <p:sldId id="808" r:id="rId38"/>
    <p:sldId id="809" r:id="rId39"/>
    <p:sldId id="810" r:id="rId40"/>
    <p:sldId id="811" r:id="rId41"/>
    <p:sldId id="812" r:id="rId42"/>
    <p:sldId id="813" r:id="rId43"/>
    <p:sldId id="814" r:id="rId44"/>
    <p:sldId id="815" r:id="rId45"/>
    <p:sldId id="816" r:id="rId46"/>
    <p:sldId id="817" r:id="rId47"/>
    <p:sldId id="818" r:id="rId48"/>
    <p:sldId id="819" r:id="rId49"/>
    <p:sldId id="820" r:id="rId50"/>
    <p:sldId id="821" r:id="rId51"/>
    <p:sldId id="822" r:id="rId52"/>
    <p:sldId id="823" r:id="rId53"/>
    <p:sldId id="824" r:id="rId54"/>
    <p:sldId id="825" r:id="rId55"/>
    <p:sldId id="843" r:id="rId56"/>
    <p:sldId id="845" r:id="rId57"/>
    <p:sldId id="844" r:id="rId58"/>
    <p:sldId id="867" r:id="rId59"/>
    <p:sldId id="868" r:id="rId60"/>
    <p:sldId id="846" r:id="rId61"/>
    <p:sldId id="847" r:id="rId62"/>
    <p:sldId id="848" r:id="rId63"/>
    <p:sldId id="849" r:id="rId64"/>
    <p:sldId id="850" r:id="rId65"/>
    <p:sldId id="851" r:id="rId66"/>
    <p:sldId id="852" r:id="rId67"/>
    <p:sldId id="853" r:id="rId68"/>
    <p:sldId id="854" r:id="rId69"/>
    <p:sldId id="855" r:id="rId70"/>
    <p:sldId id="856" r:id="rId71"/>
    <p:sldId id="857" r:id="rId72"/>
    <p:sldId id="858" r:id="rId73"/>
    <p:sldId id="859" r:id="rId74"/>
    <p:sldId id="860" r:id="rId75"/>
    <p:sldId id="861" r:id="rId76"/>
    <p:sldId id="862" r:id="rId77"/>
    <p:sldId id="863" r:id="rId78"/>
    <p:sldId id="864" r:id="rId79"/>
    <p:sldId id="865" r:id="rId80"/>
    <p:sldId id="866" r:id="rId81"/>
    <p:sldId id="874" r:id="rId82"/>
    <p:sldId id="877" r:id="rId83"/>
    <p:sldId id="875" r:id="rId84"/>
    <p:sldId id="876" r:id="rId85"/>
    <p:sldId id="878" r:id="rId86"/>
    <p:sldId id="879" r:id="rId87"/>
    <p:sldId id="880" r:id="rId88"/>
    <p:sldId id="881" r:id="rId89"/>
    <p:sldId id="882" r:id="rId90"/>
    <p:sldId id="883" r:id="rId91"/>
    <p:sldId id="884" r:id="rId92"/>
    <p:sldId id="885" r:id="rId93"/>
    <p:sldId id="886" r:id="rId94"/>
    <p:sldId id="887" r:id="rId95"/>
    <p:sldId id="888" r:id="rId96"/>
    <p:sldId id="889" r:id="rId97"/>
    <p:sldId id="890" r:id="rId98"/>
    <p:sldId id="891" r:id="rId99"/>
    <p:sldId id="892" r:id="rId100"/>
    <p:sldId id="893" r:id="rId101"/>
    <p:sldId id="894" r:id="rId102"/>
    <p:sldId id="895" r:id="rId103"/>
    <p:sldId id="896" r:id="rId104"/>
    <p:sldId id="897" r:id="rId105"/>
    <p:sldId id="898" r:id="rId106"/>
    <p:sldId id="842" r:id="rId107"/>
    <p:sldId id="780" r:id="rId108"/>
    <p:sldId id="732" r:id="rId109"/>
    <p:sldId id="756" r:id="rId110"/>
    <p:sldId id="758" r:id="rId111"/>
    <p:sldId id="735" r:id="rId112"/>
    <p:sldId id="733" r:id="rId113"/>
    <p:sldId id="734" r:id="rId114"/>
    <p:sldId id="826" r:id="rId115"/>
    <p:sldId id="827" r:id="rId116"/>
    <p:sldId id="828" r:id="rId117"/>
    <p:sldId id="829" r:id="rId118"/>
    <p:sldId id="830" r:id="rId119"/>
    <p:sldId id="831" r:id="rId120"/>
    <p:sldId id="832" r:id="rId121"/>
    <p:sldId id="833" r:id="rId122"/>
    <p:sldId id="834" r:id="rId123"/>
    <p:sldId id="835" r:id="rId124"/>
    <p:sldId id="836" r:id="rId125"/>
    <p:sldId id="837" r:id="rId126"/>
    <p:sldId id="838" r:id="rId127"/>
    <p:sldId id="839" r:id="rId128"/>
    <p:sldId id="840" r:id="rId129"/>
    <p:sldId id="841" r:id="rId130"/>
    <p:sldId id="757" r:id="rId131"/>
    <p:sldId id="759" r:id="rId132"/>
    <p:sldId id="760" r:id="rId133"/>
    <p:sldId id="761" r:id="rId134"/>
    <p:sldId id="762" r:id="rId135"/>
    <p:sldId id="778" r:id="rId136"/>
    <p:sldId id="763" r:id="rId137"/>
    <p:sldId id="764" r:id="rId138"/>
    <p:sldId id="765" r:id="rId139"/>
    <p:sldId id="766" r:id="rId140"/>
    <p:sldId id="767" r:id="rId141"/>
    <p:sldId id="768" r:id="rId142"/>
    <p:sldId id="769" r:id="rId143"/>
    <p:sldId id="770" r:id="rId144"/>
    <p:sldId id="771" r:id="rId145"/>
    <p:sldId id="772" r:id="rId146"/>
    <p:sldId id="773" r:id="rId147"/>
    <p:sldId id="774" r:id="rId148"/>
    <p:sldId id="775" r:id="rId149"/>
    <p:sldId id="776" r:id="rId150"/>
  </p:sldIdLst>
  <p:sldSz cx="9144000" cy="6858000" type="screen4x3"/>
  <p:notesSz cx="7099300" cy="10234613"/>
  <p:custDataLst>
    <p:tags r:id="rId153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6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4B9E4"/>
    <a:srgbClr val="427BAB"/>
    <a:srgbClr val="C00000"/>
    <a:srgbClr val="E20074"/>
    <a:srgbClr val="9F4C97"/>
    <a:srgbClr val="368F9A"/>
    <a:srgbClr val="EDA95A"/>
    <a:srgbClr val="6BB324"/>
    <a:srgbClr val="FECB00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3002" autoAdjust="0"/>
  </p:normalViewPr>
  <p:slideViewPr>
    <p:cSldViewPr snapToGrid="0" snapToObjects="1">
      <p:cViewPr varScale="1">
        <p:scale>
          <a:sx n="89" d="100"/>
          <a:sy n="89" d="100"/>
        </p:scale>
        <p:origin x="1267" y="53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6"/>
        <p:guide orient="horz" pos="4124"/>
        <p:guide orient="horz" pos="3999"/>
        <p:guide pos="2922"/>
        <p:guide pos="201"/>
        <p:guide pos="5556"/>
        <p:guide pos="28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5" d="100"/>
          <a:sy n="95" d="100"/>
        </p:scale>
        <p:origin x="-4806" y="-9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1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63" Type="http://schemas.openxmlformats.org/officeDocument/2006/relationships/slide" Target="slides/slide57.xml"/><Relationship Id="rId84" Type="http://schemas.openxmlformats.org/officeDocument/2006/relationships/slide" Target="slides/slide78.xml"/><Relationship Id="rId138" Type="http://schemas.openxmlformats.org/officeDocument/2006/relationships/slide" Target="slides/slide132.xml"/><Relationship Id="rId107" Type="http://schemas.openxmlformats.org/officeDocument/2006/relationships/slide" Target="slides/slide101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53" Type="http://schemas.openxmlformats.org/officeDocument/2006/relationships/slide" Target="slides/slide47.xml"/><Relationship Id="rId74" Type="http://schemas.openxmlformats.org/officeDocument/2006/relationships/slide" Target="slides/slide68.xml"/><Relationship Id="rId128" Type="http://schemas.openxmlformats.org/officeDocument/2006/relationships/slide" Target="slides/slide122.xml"/><Relationship Id="rId149" Type="http://schemas.openxmlformats.org/officeDocument/2006/relationships/slide" Target="slides/slide143.xml"/><Relationship Id="rId5" Type="http://schemas.openxmlformats.org/officeDocument/2006/relationships/slideMaster" Target="slideMasters/slideMaster1.xml"/><Relationship Id="rId95" Type="http://schemas.openxmlformats.org/officeDocument/2006/relationships/slide" Target="slides/slide89.xml"/><Relationship Id="rId22" Type="http://schemas.openxmlformats.org/officeDocument/2006/relationships/slide" Target="slides/slide16.xml"/><Relationship Id="rId43" Type="http://schemas.openxmlformats.org/officeDocument/2006/relationships/slide" Target="slides/slide37.xml"/><Relationship Id="rId64" Type="http://schemas.openxmlformats.org/officeDocument/2006/relationships/slide" Target="slides/slide58.xml"/><Relationship Id="rId118" Type="http://schemas.openxmlformats.org/officeDocument/2006/relationships/slide" Target="slides/slide112.xml"/><Relationship Id="rId139" Type="http://schemas.openxmlformats.org/officeDocument/2006/relationships/slide" Target="slides/slide133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150" Type="http://schemas.openxmlformats.org/officeDocument/2006/relationships/slide" Target="slides/slide144.xml"/><Relationship Id="rId155" Type="http://schemas.openxmlformats.org/officeDocument/2006/relationships/viewProps" Target="viewProps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59" Type="http://schemas.openxmlformats.org/officeDocument/2006/relationships/slide" Target="slides/slide53.xml"/><Relationship Id="rId103" Type="http://schemas.openxmlformats.org/officeDocument/2006/relationships/slide" Target="slides/slide97.xml"/><Relationship Id="rId108" Type="http://schemas.openxmlformats.org/officeDocument/2006/relationships/slide" Target="slides/slide102.xml"/><Relationship Id="rId124" Type="http://schemas.openxmlformats.org/officeDocument/2006/relationships/slide" Target="slides/slide118.xml"/><Relationship Id="rId129" Type="http://schemas.openxmlformats.org/officeDocument/2006/relationships/slide" Target="slides/slide123.xml"/><Relationship Id="rId54" Type="http://schemas.openxmlformats.org/officeDocument/2006/relationships/slide" Target="slides/slide48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40" Type="http://schemas.openxmlformats.org/officeDocument/2006/relationships/slide" Target="slides/slide134.xml"/><Relationship Id="rId145" Type="http://schemas.openxmlformats.org/officeDocument/2006/relationships/slide" Target="slides/slide13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49" Type="http://schemas.openxmlformats.org/officeDocument/2006/relationships/slide" Target="slides/slide43.xml"/><Relationship Id="rId114" Type="http://schemas.openxmlformats.org/officeDocument/2006/relationships/slide" Target="slides/slide108.xml"/><Relationship Id="rId119" Type="http://schemas.openxmlformats.org/officeDocument/2006/relationships/slide" Target="slides/slide113.xml"/><Relationship Id="rId44" Type="http://schemas.openxmlformats.org/officeDocument/2006/relationships/slide" Target="slides/slide38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130" Type="http://schemas.openxmlformats.org/officeDocument/2006/relationships/slide" Target="slides/slide124.xml"/><Relationship Id="rId135" Type="http://schemas.openxmlformats.org/officeDocument/2006/relationships/slide" Target="slides/slide129.xml"/><Relationship Id="rId151" Type="http://schemas.openxmlformats.org/officeDocument/2006/relationships/notesMaster" Target="notesMasters/notesMaster1.xml"/><Relationship Id="rId156" Type="http://schemas.openxmlformats.org/officeDocument/2006/relationships/theme" Target="theme/theme1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slide" Target="slides/slide10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slide" Target="slides/slide98.xml"/><Relationship Id="rId120" Type="http://schemas.openxmlformats.org/officeDocument/2006/relationships/slide" Target="slides/slide114.xml"/><Relationship Id="rId125" Type="http://schemas.openxmlformats.org/officeDocument/2006/relationships/slide" Target="slides/slide119.xml"/><Relationship Id="rId141" Type="http://schemas.openxmlformats.org/officeDocument/2006/relationships/slide" Target="slides/slide135.xml"/><Relationship Id="rId146" Type="http://schemas.openxmlformats.org/officeDocument/2006/relationships/slide" Target="slides/slide14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slide" Target="slides/slide81.xml"/><Relationship Id="rId110" Type="http://schemas.openxmlformats.org/officeDocument/2006/relationships/slide" Target="slides/slide104.xml"/><Relationship Id="rId115" Type="http://schemas.openxmlformats.org/officeDocument/2006/relationships/slide" Target="slides/slide109.xml"/><Relationship Id="rId131" Type="http://schemas.openxmlformats.org/officeDocument/2006/relationships/slide" Target="slides/slide125.xml"/><Relationship Id="rId136" Type="http://schemas.openxmlformats.org/officeDocument/2006/relationships/slide" Target="slides/slide130.xml"/><Relationship Id="rId157" Type="http://schemas.openxmlformats.org/officeDocument/2006/relationships/tableStyles" Target="tableStyles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52" Type="http://schemas.openxmlformats.org/officeDocument/2006/relationships/handoutMaster" Target="handoutMasters/handoutMaster1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56" Type="http://schemas.openxmlformats.org/officeDocument/2006/relationships/slide" Target="slides/slide50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slide" Target="slides/slide99.xml"/><Relationship Id="rId126" Type="http://schemas.openxmlformats.org/officeDocument/2006/relationships/slide" Target="slides/slide120.xml"/><Relationship Id="rId147" Type="http://schemas.openxmlformats.org/officeDocument/2006/relationships/slide" Target="slides/slide14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121" Type="http://schemas.openxmlformats.org/officeDocument/2006/relationships/slide" Target="slides/slide115.xml"/><Relationship Id="rId142" Type="http://schemas.openxmlformats.org/officeDocument/2006/relationships/slide" Target="slides/slide136.xml"/><Relationship Id="rId3" Type="http://schemas.openxmlformats.org/officeDocument/2006/relationships/customXml" Target="../customXml/item3.xml"/><Relationship Id="rId25" Type="http://schemas.openxmlformats.org/officeDocument/2006/relationships/slide" Target="slides/slide19.xml"/><Relationship Id="rId46" Type="http://schemas.openxmlformats.org/officeDocument/2006/relationships/slide" Target="slides/slide40.xml"/><Relationship Id="rId67" Type="http://schemas.openxmlformats.org/officeDocument/2006/relationships/slide" Target="slides/slide61.xml"/><Relationship Id="rId116" Type="http://schemas.openxmlformats.org/officeDocument/2006/relationships/slide" Target="slides/slide110.xml"/><Relationship Id="rId137" Type="http://schemas.openxmlformats.org/officeDocument/2006/relationships/slide" Target="slides/slide13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62" Type="http://schemas.openxmlformats.org/officeDocument/2006/relationships/slide" Target="slides/slide56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111" Type="http://schemas.openxmlformats.org/officeDocument/2006/relationships/slide" Target="slides/slide105.xml"/><Relationship Id="rId132" Type="http://schemas.openxmlformats.org/officeDocument/2006/relationships/slide" Target="slides/slide126.xml"/><Relationship Id="rId153" Type="http://schemas.openxmlformats.org/officeDocument/2006/relationships/tags" Target="tags/tag1.xml"/><Relationship Id="rId15" Type="http://schemas.openxmlformats.org/officeDocument/2006/relationships/slide" Target="slides/slide9.xml"/><Relationship Id="rId36" Type="http://schemas.openxmlformats.org/officeDocument/2006/relationships/slide" Target="slides/slide30.xml"/><Relationship Id="rId57" Type="http://schemas.openxmlformats.org/officeDocument/2006/relationships/slide" Target="slides/slide51.xml"/><Relationship Id="rId106" Type="http://schemas.openxmlformats.org/officeDocument/2006/relationships/slide" Target="slides/slide100.xml"/><Relationship Id="rId127" Type="http://schemas.openxmlformats.org/officeDocument/2006/relationships/slide" Target="slides/slide12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52" Type="http://schemas.openxmlformats.org/officeDocument/2006/relationships/slide" Target="slides/slide46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122" Type="http://schemas.openxmlformats.org/officeDocument/2006/relationships/slide" Target="slides/slide116.xml"/><Relationship Id="rId143" Type="http://schemas.openxmlformats.org/officeDocument/2006/relationships/slide" Target="slides/slide137.xml"/><Relationship Id="rId148" Type="http://schemas.openxmlformats.org/officeDocument/2006/relationships/slide" Target="slides/slide142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26" Type="http://schemas.openxmlformats.org/officeDocument/2006/relationships/slide" Target="slides/slide20.xml"/><Relationship Id="rId47" Type="http://schemas.openxmlformats.org/officeDocument/2006/relationships/slide" Target="slides/slide41.xml"/><Relationship Id="rId68" Type="http://schemas.openxmlformats.org/officeDocument/2006/relationships/slide" Target="slides/slide62.xml"/><Relationship Id="rId89" Type="http://schemas.openxmlformats.org/officeDocument/2006/relationships/slide" Target="slides/slide83.xml"/><Relationship Id="rId112" Type="http://schemas.openxmlformats.org/officeDocument/2006/relationships/slide" Target="slides/slide106.xml"/><Relationship Id="rId133" Type="http://schemas.openxmlformats.org/officeDocument/2006/relationships/slide" Target="slides/slide127.xml"/><Relationship Id="rId154" Type="http://schemas.openxmlformats.org/officeDocument/2006/relationships/presProps" Target="presProps.xml"/><Relationship Id="rId16" Type="http://schemas.openxmlformats.org/officeDocument/2006/relationships/slide" Target="slides/slide10.xml"/><Relationship Id="rId37" Type="http://schemas.openxmlformats.org/officeDocument/2006/relationships/slide" Target="slides/slide31.xml"/><Relationship Id="rId58" Type="http://schemas.openxmlformats.org/officeDocument/2006/relationships/slide" Target="slides/slide52.xml"/><Relationship Id="rId79" Type="http://schemas.openxmlformats.org/officeDocument/2006/relationships/slide" Target="slides/slide73.xml"/><Relationship Id="rId102" Type="http://schemas.openxmlformats.org/officeDocument/2006/relationships/slide" Target="slides/slide96.xml"/><Relationship Id="rId123" Type="http://schemas.openxmlformats.org/officeDocument/2006/relationships/slide" Target="slides/slide117.xml"/><Relationship Id="rId144" Type="http://schemas.openxmlformats.org/officeDocument/2006/relationships/slide" Target="slides/slide138.xml"/><Relationship Id="rId90" Type="http://schemas.openxmlformats.org/officeDocument/2006/relationships/slide" Target="slides/slide84.xml"/><Relationship Id="rId27" Type="http://schemas.openxmlformats.org/officeDocument/2006/relationships/slide" Target="slides/slide21.xml"/><Relationship Id="rId48" Type="http://schemas.openxmlformats.org/officeDocument/2006/relationships/slide" Target="slides/slide42.xml"/><Relationship Id="rId69" Type="http://schemas.openxmlformats.org/officeDocument/2006/relationships/slide" Target="slides/slide63.xml"/><Relationship Id="rId113" Type="http://schemas.openxmlformats.org/officeDocument/2006/relationships/slide" Target="slides/slide107.xml"/><Relationship Id="rId134" Type="http://schemas.openxmlformats.org/officeDocument/2006/relationships/slide" Target="slides/slide12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fld id="{08EAA6DD-3AB6-46FF-A66C-09447AC026B9}" type="datetimeFigureOut">
              <a:rPr lang="de-DE" altLang="de-DE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latin typeface="+mn-lt"/>
              </a:defRPr>
            </a:lvl1pPr>
          </a:lstStyle>
          <a:p>
            <a:pPr>
              <a:defRPr/>
            </a:pPr>
            <a:fld id="{328156C5-7A14-45F5-A401-8D0EA7D5591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454661" name="Gruppieren 31"/>
          <p:cNvGrpSpPr>
            <a:grpSpLocks noChangeAspect="1"/>
          </p:cNvGrpSpPr>
          <p:nvPr/>
        </p:nvGrpSpPr>
        <p:grpSpPr bwMode="auto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454662" name="Freeform 9"/>
            <p:cNvSpPr>
              <a:spLocks noChangeAspect="1" noEditPoints="1"/>
            </p:cNvSpPr>
            <p:nvPr userDrawn="1"/>
          </p:nvSpPr>
          <p:spPr bwMode="auto">
            <a:xfrm>
              <a:off x="7307384" y="6310141"/>
              <a:ext cx="1512766" cy="121615"/>
            </a:xfrm>
            <a:custGeom>
              <a:avLst/>
              <a:gdLst>
                <a:gd name="T0" fmla="*/ 5172459 w 5644"/>
                <a:gd name="T1" fmla="*/ 5812849 h 419"/>
                <a:gd name="T2" fmla="*/ 5172459 w 5644"/>
                <a:gd name="T3" fmla="*/ 23588666 h 419"/>
                <a:gd name="T4" fmla="*/ 27514973 w 5644"/>
                <a:gd name="T5" fmla="*/ 13142257 h 419"/>
                <a:gd name="T6" fmla="*/ 24713247 w 5644"/>
                <a:gd name="T7" fmla="*/ 5391695 h 419"/>
                <a:gd name="T8" fmla="*/ 34339842 w 5644"/>
                <a:gd name="T9" fmla="*/ 2527502 h 419"/>
                <a:gd name="T10" fmla="*/ 36207749 w 5644"/>
                <a:gd name="T11" fmla="*/ 20471665 h 419"/>
                <a:gd name="T12" fmla="*/ 31681780 w 5644"/>
                <a:gd name="T13" fmla="*/ 27127111 h 419"/>
                <a:gd name="T14" fmla="*/ 24713247 w 5644"/>
                <a:gd name="T15" fmla="*/ 17691645 h 419"/>
                <a:gd name="T16" fmla="*/ 46337170 w 5644"/>
                <a:gd name="T17" fmla="*/ 673962 h 419"/>
                <a:gd name="T18" fmla="*/ 58765491 w 5644"/>
                <a:gd name="T19" fmla="*/ 28727553 h 419"/>
                <a:gd name="T20" fmla="*/ 63937950 w 5644"/>
                <a:gd name="T21" fmla="*/ 11794333 h 419"/>
                <a:gd name="T22" fmla="*/ 74283136 w 5644"/>
                <a:gd name="T23" fmla="*/ 23588666 h 419"/>
                <a:gd name="T24" fmla="*/ 89297687 w 5644"/>
                <a:gd name="T25" fmla="*/ 23083340 h 419"/>
                <a:gd name="T26" fmla="*/ 83478738 w 5644"/>
                <a:gd name="T27" fmla="*/ 23925647 h 419"/>
                <a:gd name="T28" fmla="*/ 88220203 w 5644"/>
                <a:gd name="T29" fmla="*/ 5897312 h 419"/>
                <a:gd name="T30" fmla="*/ 78378111 w 5644"/>
                <a:gd name="T31" fmla="*/ 673962 h 419"/>
                <a:gd name="T32" fmla="*/ 91165594 w 5644"/>
                <a:gd name="T33" fmla="*/ 13479238 h 419"/>
                <a:gd name="T34" fmla="*/ 99283712 w 5644"/>
                <a:gd name="T35" fmla="*/ 28727553 h 419"/>
                <a:gd name="T36" fmla="*/ 104456171 w 5644"/>
                <a:gd name="T37" fmla="*/ 11794333 h 419"/>
                <a:gd name="T38" fmla="*/ 114801089 w 5644"/>
                <a:gd name="T39" fmla="*/ 23588666 h 419"/>
                <a:gd name="T40" fmla="*/ 124068522 w 5644"/>
                <a:gd name="T41" fmla="*/ 673962 h 419"/>
                <a:gd name="T42" fmla="*/ 131324385 w 5644"/>
                <a:gd name="T43" fmla="*/ 28727553 h 419"/>
                <a:gd name="T44" fmla="*/ 145836378 w 5644"/>
                <a:gd name="T45" fmla="*/ 27379629 h 419"/>
                <a:gd name="T46" fmla="*/ 142244229 w 5644"/>
                <a:gd name="T47" fmla="*/ 30918074 h 419"/>
                <a:gd name="T48" fmla="*/ 154672551 w 5644"/>
                <a:gd name="T49" fmla="*/ 673962 h 419"/>
                <a:gd name="T50" fmla="*/ 173710512 w 5644"/>
                <a:gd name="T51" fmla="*/ 19881876 h 419"/>
                <a:gd name="T52" fmla="*/ 168178624 w 5644"/>
                <a:gd name="T53" fmla="*/ 9604102 h 419"/>
                <a:gd name="T54" fmla="*/ 193825690 w 5644"/>
                <a:gd name="T55" fmla="*/ 17859990 h 419"/>
                <a:gd name="T56" fmla="*/ 201728311 w 5644"/>
                <a:gd name="T57" fmla="*/ 28727553 h 419"/>
                <a:gd name="T58" fmla="*/ 181325536 w 5644"/>
                <a:gd name="T59" fmla="*/ 28727553 h 419"/>
                <a:gd name="T60" fmla="*/ 211283074 w 5644"/>
                <a:gd name="T61" fmla="*/ 24599609 h 419"/>
                <a:gd name="T62" fmla="*/ 210061658 w 5644"/>
                <a:gd name="T63" fmla="*/ 16596239 h 419"/>
                <a:gd name="T64" fmla="*/ 217389352 w 5644"/>
                <a:gd name="T65" fmla="*/ 3622618 h 419"/>
                <a:gd name="T66" fmla="*/ 208696845 w 5644"/>
                <a:gd name="T67" fmla="*/ 5475868 h 419"/>
                <a:gd name="T68" fmla="*/ 219688253 w 5644"/>
                <a:gd name="T69" fmla="*/ 20724473 h 419"/>
                <a:gd name="T70" fmla="*/ 239300873 w 5644"/>
                <a:gd name="T71" fmla="*/ 28727553 h 419"/>
                <a:gd name="T72" fmla="*/ 240665686 w 5644"/>
                <a:gd name="T73" fmla="*/ 673962 h 419"/>
                <a:gd name="T74" fmla="*/ 263798354 w 5644"/>
                <a:gd name="T75" fmla="*/ 673962 h 419"/>
                <a:gd name="T76" fmla="*/ 262864535 w 5644"/>
                <a:gd name="T77" fmla="*/ 16680702 h 419"/>
                <a:gd name="T78" fmla="*/ 248496474 w 5644"/>
                <a:gd name="T79" fmla="*/ 28727553 h 419"/>
                <a:gd name="T80" fmla="*/ 278741341 w 5644"/>
                <a:gd name="T81" fmla="*/ 5981484 h 419"/>
                <a:gd name="T82" fmla="*/ 268108826 w 5644"/>
                <a:gd name="T83" fmla="*/ 673962 h 419"/>
                <a:gd name="T84" fmla="*/ 281686732 w 5644"/>
                <a:gd name="T85" fmla="*/ 15416951 h 419"/>
                <a:gd name="T86" fmla="*/ 285853539 w 5644"/>
                <a:gd name="T87" fmla="*/ 28727553 h 419"/>
                <a:gd name="T88" fmla="*/ 277735421 w 5644"/>
                <a:gd name="T89" fmla="*/ 17859990 h 419"/>
                <a:gd name="T90" fmla="*/ 294761544 w 5644"/>
                <a:gd name="T91" fmla="*/ 23925647 h 419"/>
                <a:gd name="T92" fmla="*/ 297348041 w 5644"/>
                <a:gd name="T93" fmla="*/ 16175085 h 419"/>
                <a:gd name="T94" fmla="*/ 299790606 w 5644"/>
                <a:gd name="T95" fmla="*/ 11289007 h 419"/>
                <a:gd name="T96" fmla="*/ 294761544 w 5644"/>
                <a:gd name="T97" fmla="*/ 11962969 h 419"/>
                <a:gd name="T98" fmla="*/ 305106730 w 5644"/>
                <a:gd name="T99" fmla="*/ 3875426 h 419"/>
                <a:gd name="T100" fmla="*/ 299000183 w 5644"/>
                <a:gd name="T101" fmla="*/ 28727553 h 419"/>
                <a:gd name="T102" fmla="*/ 315738977 w 5644"/>
                <a:gd name="T103" fmla="*/ 28727553 h 419"/>
                <a:gd name="T104" fmla="*/ 333124528 w 5644"/>
                <a:gd name="T105" fmla="*/ 18702587 h 419"/>
                <a:gd name="T106" fmla="*/ 325294008 w 5644"/>
                <a:gd name="T107" fmla="*/ 10699217 h 419"/>
                <a:gd name="T108" fmla="*/ 354101961 w 5644"/>
                <a:gd name="T109" fmla="*/ 22072397 h 419"/>
                <a:gd name="T110" fmla="*/ 347851750 w 5644"/>
                <a:gd name="T111" fmla="*/ 23588666 h 419"/>
                <a:gd name="T112" fmla="*/ 361142327 w 5644"/>
                <a:gd name="T113" fmla="*/ 14658816 h 419"/>
                <a:gd name="T114" fmla="*/ 364806308 w 5644"/>
                <a:gd name="T115" fmla="*/ 28727553 h 419"/>
                <a:gd name="T116" fmla="*/ 369978767 w 5644"/>
                <a:gd name="T117" fmla="*/ 11794333 h 419"/>
                <a:gd name="T118" fmla="*/ 380323685 w 5644"/>
                <a:gd name="T119" fmla="*/ 23588666 h 419"/>
                <a:gd name="T120" fmla="*/ 382838082 w 5644"/>
                <a:gd name="T121" fmla="*/ 5812849 h 419"/>
                <a:gd name="T122" fmla="*/ 393757926 w 5644"/>
                <a:gd name="T123" fmla="*/ 28727553 h 419"/>
                <a:gd name="T124" fmla="*/ 400223634 w 5644"/>
                <a:gd name="T125" fmla="*/ 22661896 h 4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54663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793" cy="371475"/>
            </a:xfrm>
            <a:custGeom>
              <a:avLst/>
              <a:gdLst>
                <a:gd name="T0" fmla="*/ 77723 w 2731"/>
                <a:gd name="T1" fmla="*/ 48346637 h 1313"/>
                <a:gd name="T2" fmla="*/ 21263760 w 2731"/>
                <a:gd name="T3" fmla="*/ 48346637 h 1313"/>
                <a:gd name="T4" fmla="*/ 21263760 w 2731"/>
                <a:gd name="T5" fmla="*/ 69718473 h 1313"/>
                <a:gd name="T6" fmla="*/ 77723 w 2731"/>
                <a:gd name="T7" fmla="*/ 69718473 h 1313"/>
                <a:gd name="T8" fmla="*/ 77723 w 2731"/>
                <a:gd name="T9" fmla="*/ 48346637 h 1313"/>
                <a:gd name="T10" fmla="*/ 50443278 w 2731"/>
                <a:gd name="T11" fmla="*/ 82605515 h 1313"/>
                <a:gd name="T12" fmla="*/ 53392291 w 2731"/>
                <a:gd name="T13" fmla="*/ 95812824 h 1313"/>
                <a:gd name="T14" fmla="*/ 61851273 w 2731"/>
                <a:gd name="T15" fmla="*/ 99014638 h 1313"/>
                <a:gd name="T16" fmla="*/ 67904466 w 2731"/>
                <a:gd name="T17" fmla="*/ 99094705 h 1313"/>
                <a:gd name="T18" fmla="*/ 67904466 w 2731"/>
                <a:gd name="T19" fmla="*/ 105098001 h 1313"/>
                <a:gd name="T20" fmla="*/ 16995408 w 2731"/>
                <a:gd name="T21" fmla="*/ 105098001 h 1313"/>
                <a:gd name="T22" fmla="*/ 16995408 w 2731"/>
                <a:gd name="T23" fmla="*/ 99094705 h 1313"/>
                <a:gd name="T24" fmla="*/ 25997614 w 2731"/>
                <a:gd name="T25" fmla="*/ 98534239 h 1313"/>
                <a:gd name="T26" fmla="*/ 33447870 w 2731"/>
                <a:gd name="T27" fmla="*/ 91570426 h 1313"/>
                <a:gd name="T28" fmla="*/ 34301429 w 2731"/>
                <a:gd name="T29" fmla="*/ 82605515 h 1313"/>
                <a:gd name="T30" fmla="*/ 34301429 w 2731"/>
                <a:gd name="T31" fmla="*/ 5042780 h 1313"/>
                <a:gd name="T32" fmla="*/ 13968951 w 2731"/>
                <a:gd name="T33" fmla="*/ 13687425 h 1313"/>
                <a:gd name="T34" fmla="*/ 5509969 w 2731"/>
                <a:gd name="T35" fmla="*/ 38020876 h 1313"/>
                <a:gd name="T36" fmla="*/ 0 w 2731"/>
                <a:gd name="T37" fmla="*/ 37060360 h 1313"/>
                <a:gd name="T38" fmla="*/ 1008726 w 2731"/>
                <a:gd name="T39" fmla="*/ 0 h 1313"/>
                <a:gd name="T40" fmla="*/ 83890870 w 2731"/>
                <a:gd name="T41" fmla="*/ 0 h 1313"/>
                <a:gd name="T42" fmla="*/ 84899874 w 2731"/>
                <a:gd name="T43" fmla="*/ 37060360 h 1313"/>
                <a:gd name="T44" fmla="*/ 79389906 w 2731"/>
                <a:gd name="T45" fmla="*/ 38020876 h 1313"/>
                <a:gd name="T46" fmla="*/ 70853479 w 2731"/>
                <a:gd name="T47" fmla="*/ 13687425 h 1313"/>
                <a:gd name="T48" fmla="*/ 50443278 w 2731"/>
                <a:gd name="T49" fmla="*/ 5042780 h 1313"/>
                <a:gd name="T50" fmla="*/ 50443278 w 2731"/>
                <a:gd name="T51" fmla="*/ 82605515 h 1313"/>
                <a:gd name="T52" fmla="*/ 63946448 w 2731"/>
                <a:gd name="T53" fmla="*/ 48346637 h 1313"/>
                <a:gd name="T54" fmla="*/ 85055042 w 2731"/>
                <a:gd name="T55" fmla="*/ 48346637 h 1313"/>
                <a:gd name="T56" fmla="*/ 85055042 w 2731"/>
                <a:gd name="T57" fmla="*/ 69718473 h 1313"/>
                <a:gd name="T58" fmla="*/ 63946448 w 2731"/>
                <a:gd name="T59" fmla="*/ 69718473 h 1313"/>
                <a:gd name="T60" fmla="*/ 63946448 w 2731"/>
                <a:gd name="T61" fmla="*/ 48346637 h 1313"/>
                <a:gd name="T62" fmla="*/ 127349672 w 2731"/>
                <a:gd name="T63" fmla="*/ 48346637 h 1313"/>
                <a:gd name="T64" fmla="*/ 148535988 w 2731"/>
                <a:gd name="T65" fmla="*/ 48346637 h 1313"/>
                <a:gd name="T66" fmla="*/ 148535988 w 2731"/>
                <a:gd name="T67" fmla="*/ 69718473 h 1313"/>
                <a:gd name="T68" fmla="*/ 127349672 w 2731"/>
                <a:gd name="T69" fmla="*/ 69718473 h 1313"/>
                <a:gd name="T70" fmla="*/ 127349672 w 2731"/>
                <a:gd name="T71" fmla="*/ 48346637 h 1313"/>
                <a:gd name="T72" fmla="*/ 190830619 w 2731"/>
                <a:gd name="T73" fmla="*/ 48346637 h 1313"/>
                <a:gd name="T74" fmla="*/ 211939212 w 2731"/>
                <a:gd name="T75" fmla="*/ 48346637 h 1313"/>
                <a:gd name="T76" fmla="*/ 211939212 w 2731"/>
                <a:gd name="T77" fmla="*/ 69718473 h 1313"/>
                <a:gd name="T78" fmla="*/ 190830619 w 2731"/>
                <a:gd name="T79" fmla="*/ 69718473 h 1313"/>
                <a:gd name="T80" fmla="*/ 190830619 w 2731"/>
                <a:gd name="T81" fmla="*/ 48346637 h 131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9225310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Mastertextformat bearbeiten</a:t>
            </a:r>
          </a:p>
          <a:p>
            <a:pPr lvl="1"/>
            <a:r>
              <a:rPr lang="de-DE" altLang="de-DE" noProof="0" smtClean="0"/>
              <a:t>Zweite Ebene</a:t>
            </a:r>
          </a:p>
          <a:p>
            <a:pPr lvl="2"/>
            <a:r>
              <a:rPr lang="de-DE" altLang="de-DE" noProof="0" smtClean="0"/>
              <a:t>Dritte Ebene</a:t>
            </a:r>
          </a:p>
          <a:p>
            <a:pPr lvl="3"/>
            <a:r>
              <a:rPr lang="de-DE" altLang="de-DE" noProof="0" smtClean="0"/>
              <a:t>Vierte Ebene</a:t>
            </a:r>
          </a:p>
          <a:p>
            <a:pPr lvl="4"/>
            <a:r>
              <a:rPr lang="de-DE" altLang="de-DE" noProof="0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fld id="{EEDD0792-31F5-4C05-BBB4-5A2059D305C5}" type="datetimeFigureOut">
              <a:rPr lang="de-DE" altLang="de-DE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979EC1EB-F7FC-47FA-ABF2-0A658A6F8FA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30407" name="Gruppieren 37"/>
          <p:cNvGrpSpPr>
            <a:grpSpLocks noChangeAspect="1"/>
          </p:cNvGrpSpPr>
          <p:nvPr/>
        </p:nvGrpSpPr>
        <p:grpSpPr bwMode="auto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230408" name="Freeform 9"/>
            <p:cNvSpPr>
              <a:spLocks noChangeAspect="1" noEditPoints="1"/>
            </p:cNvSpPr>
            <p:nvPr userDrawn="1"/>
          </p:nvSpPr>
          <p:spPr bwMode="auto">
            <a:xfrm>
              <a:off x="7307384" y="6310141"/>
              <a:ext cx="1512766" cy="121615"/>
            </a:xfrm>
            <a:custGeom>
              <a:avLst/>
              <a:gdLst>
                <a:gd name="T0" fmla="*/ 5172459 w 5644"/>
                <a:gd name="T1" fmla="*/ 5812849 h 419"/>
                <a:gd name="T2" fmla="*/ 5172459 w 5644"/>
                <a:gd name="T3" fmla="*/ 23588666 h 419"/>
                <a:gd name="T4" fmla="*/ 27514973 w 5644"/>
                <a:gd name="T5" fmla="*/ 13142257 h 419"/>
                <a:gd name="T6" fmla="*/ 24713247 w 5644"/>
                <a:gd name="T7" fmla="*/ 5391695 h 419"/>
                <a:gd name="T8" fmla="*/ 34339842 w 5644"/>
                <a:gd name="T9" fmla="*/ 2527502 h 419"/>
                <a:gd name="T10" fmla="*/ 36207749 w 5644"/>
                <a:gd name="T11" fmla="*/ 20471665 h 419"/>
                <a:gd name="T12" fmla="*/ 31681780 w 5644"/>
                <a:gd name="T13" fmla="*/ 27127111 h 419"/>
                <a:gd name="T14" fmla="*/ 24713247 w 5644"/>
                <a:gd name="T15" fmla="*/ 17691645 h 419"/>
                <a:gd name="T16" fmla="*/ 46337170 w 5644"/>
                <a:gd name="T17" fmla="*/ 673962 h 419"/>
                <a:gd name="T18" fmla="*/ 58765491 w 5644"/>
                <a:gd name="T19" fmla="*/ 28727553 h 419"/>
                <a:gd name="T20" fmla="*/ 63937950 w 5644"/>
                <a:gd name="T21" fmla="*/ 11794333 h 419"/>
                <a:gd name="T22" fmla="*/ 74283136 w 5644"/>
                <a:gd name="T23" fmla="*/ 23588666 h 419"/>
                <a:gd name="T24" fmla="*/ 89297687 w 5644"/>
                <a:gd name="T25" fmla="*/ 23083340 h 419"/>
                <a:gd name="T26" fmla="*/ 83478738 w 5644"/>
                <a:gd name="T27" fmla="*/ 23925647 h 419"/>
                <a:gd name="T28" fmla="*/ 88220203 w 5644"/>
                <a:gd name="T29" fmla="*/ 5897312 h 419"/>
                <a:gd name="T30" fmla="*/ 78378111 w 5644"/>
                <a:gd name="T31" fmla="*/ 673962 h 419"/>
                <a:gd name="T32" fmla="*/ 91165594 w 5644"/>
                <a:gd name="T33" fmla="*/ 13479238 h 419"/>
                <a:gd name="T34" fmla="*/ 99283712 w 5644"/>
                <a:gd name="T35" fmla="*/ 28727553 h 419"/>
                <a:gd name="T36" fmla="*/ 104456171 w 5644"/>
                <a:gd name="T37" fmla="*/ 11794333 h 419"/>
                <a:gd name="T38" fmla="*/ 114801089 w 5644"/>
                <a:gd name="T39" fmla="*/ 23588666 h 419"/>
                <a:gd name="T40" fmla="*/ 124068522 w 5644"/>
                <a:gd name="T41" fmla="*/ 673962 h 419"/>
                <a:gd name="T42" fmla="*/ 131324385 w 5644"/>
                <a:gd name="T43" fmla="*/ 28727553 h 419"/>
                <a:gd name="T44" fmla="*/ 145836378 w 5644"/>
                <a:gd name="T45" fmla="*/ 27379629 h 419"/>
                <a:gd name="T46" fmla="*/ 142244229 w 5644"/>
                <a:gd name="T47" fmla="*/ 30918074 h 419"/>
                <a:gd name="T48" fmla="*/ 154672551 w 5644"/>
                <a:gd name="T49" fmla="*/ 673962 h 419"/>
                <a:gd name="T50" fmla="*/ 173710512 w 5644"/>
                <a:gd name="T51" fmla="*/ 19881876 h 419"/>
                <a:gd name="T52" fmla="*/ 168178624 w 5644"/>
                <a:gd name="T53" fmla="*/ 9604102 h 419"/>
                <a:gd name="T54" fmla="*/ 193825690 w 5644"/>
                <a:gd name="T55" fmla="*/ 17859990 h 419"/>
                <a:gd name="T56" fmla="*/ 201728311 w 5644"/>
                <a:gd name="T57" fmla="*/ 28727553 h 419"/>
                <a:gd name="T58" fmla="*/ 181325536 w 5644"/>
                <a:gd name="T59" fmla="*/ 28727553 h 419"/>
                <a:gd name="T60" fmla="*/ 211283074 w 5644"/>
                <a:gd name="T61" fmla="*/ 24599609 h 419"/>
                <a:gd name="T62" fmla="*/ 210061658 w 5644"/>
                <a:gd name="T63" fmla="*/ 16596239 h 419"/>
                <a:gd name="T64" fmla="*/ 217389352 w 5644"/>
                <a:gd name="T65" fmla="*/ 3622618 h 419"/>
                <a:gd name="T66" fmla="*/ 208696845 w 5644"/>
                <a:gd name="T67" fmla="*/ 5475868 h 419"/>
                <a:gd name="T68" fmla="*/ 219688253 w 5644"/>
                <a:gd name="T69" fmla="*/ 20724473 h 419"/>
                <a:gd name="T70" fmla="*/ 239300873 w 5644"/>
                <a:gd name="T71" fmla="*/ 28727553 h 419"/>
                <a:gd name="T72" fmla="*/ 240665686 w 5644"/>
                <a:gd name="T73" fmla="*/ 673962 h 419"/>
                <a:gd name="T74" fmla="*/ 263798354 w 5644"/>
                <a:gd name="T75" fmla="*/ 673962 h 419"/>
                <a:gd name="T76" fmla="*/ 262864535 w 5644"/>
                <a:gd name="T77" fmla="*/ 16680702 h 419"/>
                <a:gd name="T78" fmla="*/ 248496474 w 5644"/>
                <a:gd name="T79" fmla="*/ 28727553 h 419"/>
                <a:gd name="T80" fmla="*/ 278741341 w 5644"/>
                <a:gd name="T81" fmla="*/ 5981484 h 419"/>
                <a:gd name="T82" fmla="*/ 268108826 w 5644"/>
                <a:gd name="T83" fmla="*/ 673962 h 419"/>
                <a:gd name="T84" fmla="*/ 281686732 w 5644"/>
                <a:gd name="T85" fmla="*/ 15416951 h 419"/>
                <a:gd name="T86" fmla="*/ 285853539 w 5644"/>
                <a:gd name="T87" fmla="*/ 28727553 h 419"/>
                <a:gd name="T88" fmla="*/ 277735421 w 5644"/>
                <a:gd name="T89" fmla="*/ 17859990 h 419"/>
                <a:gd name="T90" fmla="*/ 294761544 w 5644"/>
                <a:gd name="T91" fmla="*/ 23925647 h 419"/>
                <a:gd name="T92" fmla="*/ 297348041 w 5644"/>
                <a:gd name="T93" fmla="*/ 16175085 h 419"/>
                <a:gd name="T94" fmla="*/ 299790606 w 5644"/>
                <a:gd name="T95" fmla="*/ 11289007 h 419"/>
                <a:gd name="T96" fmla="*/ 294761544 w 5644"/>
                <a:gd name="T97" fmla="*/ 11962969 h 419"/>
                <a:gd name="T98" fmla="*/ 305106730 w 5644"/>
                <a:gd name="T99" fmla="*/ 3875426 h 419"/>
                <a:gd name="T100" fmla="*/ 299000183 w 5644"/>
                <a:gd name="T101" fmla="*/ 28727553 h 419"/>
                <a:gd name="T102" fmla="*/ 315738977 w 5644"/>
                <a:gd name="T103" fmla="*/ 28727553 h 419"/>
                <a:gd name="T104" fmla="*/ 333124528 w 5644"/>
                <a:gd name="T105" fmla="*/ 18702587 h 419"/>
                <a:gd name="T106" fmla="*/ 325294008 w 5644"/>
                <a:gd name="T107" fmla="*/ 10699217 h 419"/>
                <a:gd name="T108" fmla="*/ 354101961 w 5644"/>
                <a:gd name="T109" fmla="*/ 22072397 h 419"/>
                <a:gd name="T110" fmla="*/ 347851750 w 5644"/>
                <a:gd name="T111" fmla="*/ 23588666 h 419"/>
                <a:gd name="T112" fmla="*/ 361142327 w 5644"/>
                <a:gd name="T113" fmla="*/ 14658816 h 419"/>
                <a:gd name="T114" fmla="*/ 364806308 w 5644"/>
                <a:gd name="T115" fmla="*/ 28727553 h 419"/>
                <a:gd name="T116" fmla="*/ 369978767 w 5644"/>
                <a:gd name="T117" fmla="*/ 11794333 h 419"/>
                <a:gd name="T118" fmla="*/ 380323685 w 5644"/>
                <a:gd name="T119" fmla="*/ 23588666 h 419"/>
                <a:gd name="T120" fmla="*/ 382838082 w 5644"/>
                <a:gd name="T121" fmla="*/ 5812849 h 419"/>
                <a:gd name="T122" fmla="*/ 393757926 w 5644"/>
                <a:gd name="T123" fmla="*/ 28727553 h 419"/>
                <a:gd name="T124" fmla="*/ 400223634 w 5644"/>
                <a:gd name="T125" fmla="*/ 22661896 h 4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0409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793" cy="371475"/>
            </a:xfrm>
            <a:custGeom>
              <a:avLst/>
              <a:gdLst>
                <a:gd name="T0" fmla="*/ 77723 w 2731"/>
                <a:gd name="T1" fmla="*/ 48346637 h 1313"/>
                <a:gd name="T2" fmla="*/ 21263760 w 2731"/>
                <a:gd name="T3" fmla="*/ 48346637 h 1313"/>
                <a:gd name="T4" fmla="*/ 21263760 w 2731"/>
                <a:gd name="T5" fmla="*/ 69718473 h 1313"/>
                <a:gd name="T6" fmla="*/ 77723 w 2731"/>
                <a:gd name="T7" fmla="*/ 69718473 h 1313"/>
                <a:gd name="T8" fmla="*/ 77723 w 2731"/>
                <a:gd name="T9" fmla="*/ 48346637 h 1313"/>
                <a:gd name="T10" fmla="*/ 50443278 w 2731"/>
                <a:gd name="T11" fmla="*/ 82605515 h 1313"/>
                <a:gd name="T12" fmla="*/ 53392291 w 2731"/>
                <a:gd name="T13" fmla="*/ 95812824 h 1313"/>
                <a:gd name="T14" fmla="*/ 61851273 w 2731"/>
                <a:gd name="T15" fmla="*/ 99014638 h 1313"/>
                <a:gd name="T16" fmla="*/ 67904466 w 2731"/>
                <a:gd name="T17" fmla="*/ 99094705 h 1313"/>
                <a:gd name="T18" fmla="*/ 67904466 w 2731"/>
                <a:gd name="T19" fmla="*/ 105098001 h 1313"/>
                <a:gd name="T20" fmla="*/ 16995408 w 2731"/>
                <a:gd name="T21" fmla="*/ 105098001 h 1313"/>
                <a:gd name="T22" fmla="*/ 16995408 w 2731"/>
                <a:gd name="T23" fmla="*/ 99094705 h 1313"/>
                <a:gd name="T24" fmla="*/ 25997614 w 2731"/>
                <a:gd name="T25" fmla="*/ 98534239 h 1313"/>
                <a:gd name="T26" fmla="*/ 33447870 w 2731"/>
                <a:gd name="T27" fmla="*/ 91570426 h 1313"/>
                <a:gd name="T28" fmla="*/ 34301429 w 2731"/>
                <a:gd name="T29" fmla="*/ 82605515 h 1313"/>
                <a:gd name="T30" fmla="*/ 34301429 w 2731"/>
                <a:gd name="T31" fmla="*/ 5042780 h 1313"/>
                <a:gd name="T32" fmla="*/ 13968951 w 2731"/>
                <a:gd name="T33" fmla="*/ 13687425 h 1313"/>
                <a:gd name="T34" fmla="*/ 5509969 w 2731"/>
                <a:gd name="T35" fmla="*/ 38020876 h 1313"/>
                <a:gd name="T36" fmla="*/ 0 w 2731"/>
                <a:gd name="T37" fmla="*/ 37060360 h 1313"/>
                <a:gd name="T38" fmla="*/ 1008726 w 2731"/>
                <a:gd name="T39" fmla="*/ 0 h 1313"/>
                <a:gd name="T40" fmla="*/ 83890870 w 2731"/>
                <a:gd name="T41" fmla="*/ 0 h 1313"/>
                <a:gd name="T42" fmla="*/ 84899874 w 2731"/>
                <a:gd name="T43" fmla="*/ 37060360 h 1313"/>
                <a:gd name="T44" fmla="*/ 79389906 w 2731"/>
                <a:gd name="T45" fmla="*/ 38020876 h 1313"/>
                <a:gd name="T46" fmla="*/ 70853479 w 2731"/>
                <a:gd name="T47" fmla="*/ 13687425 h 1313"/>
                <a:gd name="T48" fmla="*/ 50443278 w 2731"/>
                <a:gd name="T49" fmla="*/ 5042780 h 1313"/>
                <a:gd name="T50" fmla="*/ 50443278 w 2731"/>
                <a:gd name="T51" fmla="*/ 82605515 h 1313"/>
                <a:gd name="T52" fmla="*/ 63946448 w 2731"/>
                <a:gd name="T53" fmla="*/ 48346637 h 1313"/>
                <a:gd name="T54" fmla="*/ 85055042 w 2731"/>
                <a:gd name="T55" fmla="*/ 48346637 h 1313"/>
                <a:gd name="T56" fmla="*/ 85055042 w 2731"/>
                <a:gd name="T57" fmla="*/ 69718473 h 1313"/>
                <a:gd name="T58" fmla="*/ 63946448 w 2731"/>
                <a:gd name="T59" fmla="*/ 69718473 h 1313"/>
                <a:gd name="T60" fmla="*/ 63946448 w 2731"/>
                <a:gd name="T61" fmla="*/ 48346637 h 1313"/>
                <a:gd name="T62" fmla="*/ 127349672 w 2731"/>
                <a:gd name="T63" fmla="*/ 48346637 h 1313"/>
                <a:gd name="T64" fmla="*/ 148535988 w 2731"/>
                <a:gd name="T65" fmla="*/ 48346637 h 1313"/>
                <a:gd name="T66" fmla="*/ 148535988 w 2731"/>
                <a:gd name="T67" fmla="*/ 69718473 h 1313"/>
                <a:gd name="T68" fmla="*/ 127349672 w 2731"/>
                <a:gd name="T69" fmla="*/ 69718473 h 1313"/>
                <a:gd name="T70" fmla="*/ 127349672 w 2731"/>
                <a:gd name="T71" fmla="*/ 48346637 h 1313"/>
                <a:gd name="T72" fmla="*/ 190830619 w 2731"/>
                <a:gd name="T73" fmla="*/ 48346637 h 1313"/>
                <a:gd name="T74" fmla="*/ 211939212 w 2731"/>
                <a:gd name="T75" fmla="*/ 48346637 h 1313"/>
                <a:gd name="T76" fmla="*/ 211939212 w 2731"/>
                <a:gd name="T77" fmla="*/ 69718473 h 1313"/>
                <a:gd name="T78" fmla="*/ 190830619 w 2731"/>
                <a:gd name="T79" fmla="*/ 69718473 h 1313"/>
                <a:gd name="T80" fmla="*/ 190830619 w 2731"/>
                <a:gd name="T81" fmla="*/ 48346637 h 131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4208454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1pPr>
    <a:lvl2pPr marL="269875" indent="-1270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2pPr>
    <a:lvl3pPr marL="438150" indent="-1666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3pPr>
    <a:lvl4pPr marL="617538" indent="-1778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4pPr>
    <a:lvl5pPr marL="785813" indent="-1666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10" Type="http://schemas.openxmlformats.org/officeDocument/2006/relationships/image" Target="../media/image4.emf"/><Relationship Id="rId4" Type="http://schemas.openxmlformats.org/officeDocument/2006/relationships/tags" Target="../tags/tag10.xml"/><Relationship Id="rId9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155" name="think-cell Folie" r:id="rId7" imgW="286" imgH="286" progId="TCLayout.ActiveDocument.1">
                  <p:embed/>
                </p:oleObj>
              </mc:Choice>
              <mc:Fallback>
                <p:oleObj name="think-cell Folie" r:id="rId7" imgW="286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640"/>
          <a:stretch>
            <a:fillRect/>
          </a:stretch>
        </p:blipFill>
        <p:spPr bwMode="auto">
          <a:xfrm>
            <a:off x="323850" y="6137275"/>
            <a:ext cx="9080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12"/>
          <a:stretch>
            <a:fillRect/>
          </a:stretch>
        </p:blipFill>
        <p:spPr bwMode="auto">
          <a:xfrm>
            <a:off x="7042150" y="6137275"/>
            <a:ext cx="17732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7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84"/>
          <a:stretch>
            <a:fillRect/>
          </a:stretch>
        </p:blipFill>
        <p:spPr bwMode="auto">
          <a:xfrm>
            <a:off x="323850" y="6137275"/>
            <a:ext cx="9906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23850" y="1773238"/>
            <a:ext cx="8496300" cy="1470025"/>
          </a:xfrm>
        </p:spPr>
        <p:txBody>
          <a:bodyPr/>
          <a:lstStyle>
            <a:lvl1pPr>
              <a:lnSpc>
                <a:spcPts val="6000"/>
              </a:lnSpc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23850" y="3676650"/>
            <a:ext cx="8496300" cy="304800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454427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1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6804025" y="6431563"/>
            <a:ext cx="1800225" cy="1384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 dirty="0" smtClean="0"/>
              <a:t>18.03.2014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557463" y="6431563"/>
            <a:ext cx="4102100" cy="1384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 dirty="0" smtClean="0"/>
              <a:t>–Confidential –                         Rami Puzis / Diffusion Tracking in Social Media, 1</a:t>
            </a:r>
            <a:r>
              <a:rPr lang="de-DE" altLang="de-DE" baseline="30000" dirty="0" smtClean="0"/>
              <a:t>st</a:t>
            </a:r>
            <a:r>
              <a:rPr lang="de-DE" altLang="de-DE" dirty="0" smtClean="0"/>
              <a:t> Milestone Report</a:t>
            </a:r>
            <a:endParaRPr lang="de-DE" alt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C64F5B-F5A9-4D04-BD91-E334FD51BFDA}" type="slidenum">
              <a:rPr lang="de-DE" altLang="de-DE"/>
              <a:pPr>
                <a:defRPr/>
              </a:pPr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38416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A2A13-A2D3-41FE-A284-DBE756D6D5A3}" type="datetime1">
              <a:rPr lang="de-DE"/>
              <a:pPr>
                <a:defRPr/>
              </a:pPr>
              <a:t>01.08.2016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FF91CC-1B30-4F48-A88A-C160781CF03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996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3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DC69CE-B7D0-4ED2-B8FB-A300A90AF1F2}" type="datetime1">
              <a:rPr lang="de-DE"/>
              <a:pPr>
                <a:defRPr/>
              </a:pPr>
              <a:t>01.08.2016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CF0507-DB7C-4A6D-A4C3-FD123E63EF7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6970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3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773238"/>
            <a:ext cx="8496300" cy="42846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5FB0AD-BA01-407D-B184-2FF69CBF7A03}" type="datetime1">
              <a:rPr lang="de-DE"/>
              <a:pPr>
                <a:defRPr/>
              </a:pPr>
              <a:t>01.08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21C1A1-3C33-4E6D-A0ED-9BD5AD3BFAA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70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8496300" cy="3587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F7366F-4375-4D51-9EB5-E4C997C9A0B7}" type="datetime1">
              <a:rPr lang="de-DE"/>
              <a:pPr>
                <a:defRPr/>
              </a:pPr>
              <a:t>01.08.201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– streng vertraulich, vertraulich, intern, öffentlich – 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6B73A3-0376-434C-9189-F6BD484BC1A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9336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179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 descr="T_Logo_3c_Slogan_n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640"/>
          <a:stretch>
            <a:fillRect/>
          </a:stretch>
        </p:blipFill>
        <p:spPr bwMode="black">
          <a:xfrm>
            <a:off x="323850" y="6137275"/>
            <a:ext cx="9080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T_Logo_3c_Slogan_n_DE_EMF CD EXPOR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12"/>
          <a:stretch>
            <a:fillRect/>
          </a:stretch>
        </p:blipFill>
        <p:spPr bwMode="black">
          <a:xfrm>
            <a:off x="7042150" y="6137275"/>
            <a:ext cx="17732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altLang="de-DE" noProof="0" dirty="0" smtClean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black"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de-DE" altLang="de-DE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31097757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3647CE-A11D-4BD5-8DD4-1705B598AA53}" type="datetime1">
              <a:rPr lang="de-DE" altLang="de-DE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 –                         Autor / Thema der Präsentation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9BA24B-737B-4EC6-A3AF-31B450567882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64048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1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0E4C4-6476-476A-BFB9-D64B2E912803}" type="datetime1">
              <a:rPr lang="de-DE" altLang="de-DE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 –                         Autor / Thema der Präsentation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5CEC97-5361-4BA6-91F6-51766D467B05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03411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11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0" y="1773238"/>
            <a:ext cx="8496300" cy="42846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AEB67F-A42A-45C0-B836-B3F882B2A2E1}" type="datetime1">
              <a:rPr lang="de-DE" altLang="de-DE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– Streng vertraulich, Vertraulich, Intern –                        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60883E-7016-47CB-A58B-6960D5812ED1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8774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3.vml"/><Relationship Id="rId12" Type="http://schemas.openxmlformats.org/officeDocument/2006/relationships/tags" Target="../tags/tag28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10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6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5.xml"/><Relationship Id="rId14" Type="http://schemas.openxmlformats.org/officeDocument/2006/relationships/tags" Target="../tags/tag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Grafik 9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88" y="6346825"/>
            <a:ext cx="31369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7" name="Object 5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" name="think-cell Folie" r:id="rId15" imgW="286" imgH="286" progId="TCLayout.ActiveDocument.1">
                  <p:embed/>
                </p:oleObj>
              </mc:Choice>
              <mc:Fallback>
                <p:oleObj name="think-cell Folie" r:id="rId15" imgW="286" imgH="286" progId="TCLayout.ActiveDocument.1">
                  <p:embed/>
                  <p:pic>
                    <p:nvPicPr>
                      <p:cNvPr id="0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323850" y="333375"/>
            <a:ext cx="84963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323850" y="1773238"/>
            <a:ext cx="8496300" cy="428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 bwMode="gray">
          <a:xfrm>
            <a:off x="6804025" y="6431563"/>
            <a:ext cx="1800225" cy="1384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smtClean="0"/>
              <a:t>18.03.2014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 bwMode="gray">
          <a:xfrm>
            <a:off x="3559175" y="6427788"/>
            <a:ext cx="3100388" cy="138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</a:lstStyle>
          <a:p>
            <a:pPr algn="ctr">
              <a:defRPr/>
            </a:pPr>
            <a:r>
              <a:rPr lang="de-DE" dirty="0" smtClean="0"/>
              <a:t>- Confidential -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AB36E577-A52C-49BA-9E42-C0EA2500F39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87" r:id="rId2"/>
    <p:sldLayoutId id="2147483788" r:id="rId3"/>
    <p:sldLayoutId id="2147483789" r:id="rId4"/>
    <p:sldLayoutId id="2147483790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2pPr>
      <a:lvl3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3pPr>
      <a:lvl4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4pPr>
      <a:lvl5pPr algn="l" defTabSz="457200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/>
          <a:cs typeface="TeleGrotesk Headline Ultra"/>
        </a:defRPr>
      </a:lvl5pPr>
      <a:lvl6pPr marL="4572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ts val="3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marL="342900" indent="-34290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indent="4556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" name="think-cell Slide" r:id="rId15" imgW="286" imgH="286" progId="TCLayout.ActiveDocument.1">
                  <p:embed/>
                </p:oleObj>
              </mc:Choice>
              <mc:Fallback>
                <p:oleObj name="think-cell Slide" r:id="rId15" imgW="286" imgH="286" progId="TCLayout.ActiveDocument.1">
                  <p:embed/>
                  <p:pic>
                    <p:nvPicPr>
                      <p:cNvPr id="0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elplatzhalt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304800" y="333375"/>
            <a:ext cx="84963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2052" name="Textplatzhalt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1"/>
            </p:custDataLst>
          </p:nvPr>
        </p:nvSpPr>
        <p:spPr bwMode="gray">
          <a:xfrm>
            <a:off x="6804025" y="6431563"/>
            <a:ext cx="180022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 dirty="0" smtClean="0"/>
              <a:t>18.03.2014</a:t>
            </a:r>
            <a:endParaRPr lang="de-DE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 bwMode="gray">
          <a:xfrm>
            <a:off x="2557463" y="6431563"/>
            <a:ext cx="41021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de-DE" altLang="de-DE" dirty="0" smtClean="0"/>
              <a:t>–Confidential –                         Rami Puzis / Diffusion Tracking in Social Media, 1</a:t>
            </a:r>
            <a:r>
              <a:rPr lang="de-DE" altLang="de-DE" baseline="30000" dirty="0" smtClean="0"/>
              <a:t>st</a:t>
            </a:r>
            <a:r>
              <a:rPr lang="de-DE" altLang="de-DE" dirty="0" smtClean="0"/>
              <a:t> Milestone Report</a:t>
            </a:r>
            <a:endParaRPr lang="de-DE" alt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>
              <a:defRPr/>
            </a:pPr>
            <a:fld id="{E2E5300D-ACF0-4EE3-9620-0107EA183A5B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pic>
        <p:nvPicPr>
          <p:cNvPr id="2056" name="Picture 53" descr="T_Logo_3c_Slogan_p_DE_EMF CD EXPORT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19088" y="6346825"/>
            <a:ext cx="217328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1" r:id="rId2"/>
    <p:sldLayoutId id="2147483792" r:id="rId3"/>
    <p:sldLayoutId id="2147483793" r:id="rId4"/>
    <p:sldLayoutId id="2147483794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683264"/>
          </a:xfrm>
        </p:spPr>
        <p:txBody>
          <a:bodyPr/>
          <a:lstStyle/>
          <a:p>
            <a:pPr eaLnBrk="1" hangingPunct="1"/>
            <a:r>
              <a:rPr lang="en-US" altLang="de-DE" sz="4800" dirty="0" smtClean="0"/>
              <a:t>Supervised learning results</a:t>
            </a:r>
            <a:endParaRPr altLang="de-DE" sz="4800" dirty="0"/>
          </a:p>
        </p:txBody>
      </p:sp>
    </p:spTree>
    <p:extLst>
      <p:ext uri="{BB962C8B-B14F-4D97-AF65-F5344CB8AC3E}">
        <p14:creationId xmlns:p14="http://schemas.microsoft.com/office/powerpoint/2010/main" val="245009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285" y="1166924"/>
            <a:ext cx="7985972" cy="4183128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4297271" y="1351788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559411" y="3382774"/>
            <a:ext cx="939113" cy="91737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188912" y="4583933"/>
            <a:ext cx="2521337" cy="86127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402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0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162" y="599873"/>
            <a:ext cx="7886845" cy="5634943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>
          <a:xfrm>
            <a:off x="4484584" y="1559542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410142" y="5064860"/>
            <a:ext cx="2980039" cy="119991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57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97017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249299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Finding </a:t>
            </a:r>
            <a:r>
              <a:rPr lang="en-US" altLang="de-DE" dirty="0" err="1" smtClean="0"/>
              <a:t>author_type</a:t>
            </a:r>
            <a:r>
              <a:rPr lang="en-US" altLang="de-DE" dirty="0" smtClean="0"/>
              <a:t> (author sub type attribute </a:t>
            </a:r>
            <a:r>
              <a:rPr lang="en-US" altLang="de-DE" smtClean="0"/>
              <a:t>is included</a:t>
            </a:r>
            <a:r>
              <a:rPr lang="en-US" altLang="de-DE" dirty="0" smtClean="0"/>
              <a:t>)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4211029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0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5829" y="802414"/>
            <a:ext cx="5286247" cy="373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705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5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406861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0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624" y="909251"/>
            <a:ext cx="5789398" cy="3308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661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06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Number of features: 5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521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0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517299" y="3922840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341481" y="4269429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835" y="1130942"/>
            <a:ext cx="8023054" cy="4583090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4694173" y="154682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57277" y="483600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23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08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794" y="1196495"/>
            <a:ext cx="8006536" cy="1866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244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064727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416" y="1196634"/>
            <a:ext cx="7223292" cy="3482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600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467" y="1159045"/>
            <a:ext cx="8305783" cy="4411416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608513" y="1351788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217505" y="4892193"/>
            <a:ext cx="2807136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763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3 </a:t>
            </a:r>
            <a:r>
              <a:rPr lang="en-US" altLang="de-DE" dirty="0" smtClean="0"/>
              <a:t>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48930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2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478" y="885466"/>
            <a:ext cx="8082734" cy="293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525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Number of features: </a:t>
            </a:r>
            <a:r>
              <a:rPr lang="en-US" sz="2400" dirty="0" smtClean="0"/>
              <a:t>3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419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517299" y="3922840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341481" y="4269429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835" y="1130942"/>
            <a:ext cx="8023054" cy="4583090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4694173" y="154682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57277" y="483600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975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794" y="1196495"/>
            <a:ext cx="8006536" cy="1866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688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337424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467" y="1159045"/>
            <a:ext cx="8305783" cy="4411416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608513" y="1351788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217505" y="4892193"/>
            <a:ext cx="2807136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31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2 </a:t>
            </a:r>
            <a:r>
              <a:rPr lang="en-US" altLang="de-DE" dirty="0" smtClean="0"/>
              <a:t>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01618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19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210" y="876320"/>
            <a:ext cx="8246892" cy="278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5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73213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Number of features: </a:t>
            </a:r>
            <a:r>
              <a:rPr lang="en-US" sz="2400" dirty="0" smtClean="0"/>
              <a:t>2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514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1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517299" y="3922840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341481" y="4269429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835" y="1130942"/>
            <a:ext cx="8023054" cy="4583090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4694173" y="154682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57277" y="483600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2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794" y="1196495"/>
            <a:ext cx="8006536" cy="1866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92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416739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467" y="1159045"/>
            <a:ext cx="8305783" cy="4411416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608513" y="1351788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217505" y="4892193"/>
            <a:ext cx="2807136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92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sub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979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6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524" y="908034"/>
            <a:ext cx="7808741" cy="4912445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4392420" y="124917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625157" y="3212836"/>
            <a:ext cx="939113" cy="13509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342913" y="4868721"/>
            <a:ext cx="2845130" cy="114937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088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149" y="983374"/>
            <a:ext cx="7743825" cy="326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1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68029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29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0887" y="814387"/>
            <a:ext cx="7372350" cy="5229225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4364401" y="1702254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5534174" y="3572243"/>
            <a:ext cx="939113" cy="114803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750887" y="4794422"/>
            <a:ext cx="2684291" cy="150752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98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787" y="1152525"/>
            <a:ext cx="7210425" cy="4552950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632186" y="1905170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966787" y="4863552"/>
            <a:ext cx="2311872" cy="84192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333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3323987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Finding </a:t>
            </a:r>
            <a:r>
              <a:rPr lang="en-US" altLang="de-DE" dirty="0" err="1" smtClean="0"/>
              <a:t>author_sub_type</a:t>
            </a:r>
            <a:r>
              <a:rPr lang="en-US" altLang="de-DE" dirty="0" smtClean="0"/>
              <a:t> (author type attribute is included)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88326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3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632376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32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sub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658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3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194" y="775986"/>
            <a:ext cx="5713585" cy="282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25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3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625157" y="3212836"/>
            <a:ext cx="939113" cy="13509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226" y="883973"/>
            <a:ext cx="7744082" cy="5009069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608513" y="1224460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5864912" y="3238583"/>
            <a:ext cx="939113" cy="126751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425322" y="4753960"/>
            <a:ext cx="2902764" cy="130918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871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3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298" y="1060430"/>
            <a:ext cx="8730430" cy="337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391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431970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3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73" y="1005229"/>
            <a:ext cx="7756758" cy="4850532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608513" y="114571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5864912" y="3118171"/>
            <a:ext cx="939113" cy="135497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477795" y="4679092"/>
            <a:ext cx="3171567" cy="133900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919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2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44262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39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sub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282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3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469304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4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194" y="775986"/>
            <a:ext cx="5713585" cy="282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31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41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925" y="1114425"/>
            <a:ext cx="7296150" cy="4629150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572000" y="1380978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5774724" y="3212836"/>
            <a:ext cx="827902" cy="134268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667266" y="4753960"/>
            <a:ext cx="3262184" cy="110180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088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42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7238" y="1358104"/>
            <a:ext cx="5361011" cy="1714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776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498058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4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3450" y="1209675"/>
            <a:ext cx="7277100" cy="4438650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4572000" y="1277518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5720450" y="3212836"/>
            <a:ext cx="939113" cy="126031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679450" y="4683354"/>
            <a:ext cx="3159382" cy="107489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127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7083" y="983374"/>
            <a:ext cx="6579231" cy="3190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93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6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069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762" y="1120096"/>
            <a:ext cx="7879817" cy="4529590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4513049" y="1434957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5789913" y="3469703"/>
            <a:ext cx="939113" cy="9540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512762" y="4753960"/>
            <a:ext cx="2395195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554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18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174" y="992070"/>
            <a:ext cx="7395775" cy="3766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662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83395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2516073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Building model from </a:t>
            </a:r>
            <a:r>
              <a:rPr lang="en-US" altLang="de-DE" dirty="0" smtClean="0"/>
              <a:t>labeled </a:t>
            </a:r>
            <a:r>
              <a:rPr lang="en-US" altLang="de-DE" dirty="0" err="1" smtClean="0"/>
              <a:t>crowdturfers</a:t>
            </a:r>
            <a:r>
              <a:rPr lang="en-US" altLang="de-DE" dirty="0" smtClean="0"/>
              <a:t> and labeled good actor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252816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6" y="775986"/>
            <a:ext cx="7690837" cy="4936824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5695415" y="3914366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4444249" y="1661318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522286" y="4879586"/>
            <a:ext cx="2352719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569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2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4899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2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483" y="830727"/>
            <a:ext cx="8184654" cy="4689351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521287" y="1278430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5864912" y="3560310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214998" y="4684715"/>
            <a:ext cx="2569391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113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010" y="1182875"/>
            <a:ext cx="8525852" cy="362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420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83205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86" y="775986"/>
            <a:ext cx="7690837" cy="4936824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5695415" y="3914366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4444249" y="1661318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522286" y="4879586"/>
            <a:ext cx="2352719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76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1685077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Finding </a:t>
            </a:r>
            <a:r>
              <a:rPr lang="en-US" altLang="de-DE" dirty="0" err="1" smtClean="0"/>
              <a:t>author_sub_type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905447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Influential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158787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28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928" y="491795"/>
            <a:ext cx="7610247" cy="5745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352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5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3753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sp>
        <p:nvSpPr>
          <p:cNvPr id="15" name="Rectangle 4"/>
          <p:cNvSpPr txBox="1">
            <a:spLocks/>
          </p:cNvSpPr>
          <p:nvPr/>
        </p:nvSpPr>
        <p:spPr>
          <a:xfrm>
            <a:off x="1169446" y="4982592"/>
            <a:ext cx="2539911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err="1" smtClean="0"/>
              <a:t>Crowdturfers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6" name="Rectangle 4"/>
          <p:cNvSpPr txBox="1">
            <a:spLocks/>
          </p:cNvSpPr>
          <p:nvPr/>
        </p:nvSpPr>
        <p:spPr>
          <a:xfrm>
            <a:off x="5755825" y="4982591"/>
            <a:ext cx="2539911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/>
              <a:t>G</a:t>
            </a:r>
            <a:r>
              <a:rPr lang="en-US" altLang="de-DE" dirty="0" smtClean="0"/>
              <a:t>ood actors</a:t>
            </a:r>
            <a:endParaRPr lang="en-US" altLang="de-DE" dirty="0" smtClean="0">
              <a:latin typeface="Tele-GroteskNor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84" y="1265299"/>
            <a:ext cx="8886825" cy="3609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704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604" y="983374"/>
            <a:ext cx="7561817" cy="317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324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1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sub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7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2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789" y="1081428"/>
            <a:ext cx="7610475" cy="4629871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482026" y="1259366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5720450" y="3118171"/>
            <a:ext cx="939113" cy="133849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507948" y="4619783"/>
            <a:ext cx="2702011" cy="133534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3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279261"/>
            <a:ext cx="8839200" cy="3867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02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75762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828675"/>
            <a:ext cx="7315200" cy="5200650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608513" y="1655964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5720450" y="3429000"/>
            <a:ext cx="939113" cy="122537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645859" y="4901592"/>
            <a:ext cx="3267114" cy="117039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483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3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639445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779" y="983374"/>
            <a:ext cx="7366565" cy="235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615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8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sub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129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39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500" y="1176337"/>
            <a:ext cx="7239000" cy="4505325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4552607" y="1319812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20450" y="3164979"/>
            <a:ext cx="939113" cy="117636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652545" y="4563762"/>
            <a:ext cx="2889722" cy="119896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6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Influential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306574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4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612" y="1213537"/>
            <a:ext cx="8486775" cy="316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795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837247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42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550" y="809625"/>
            <a:ext cx="7200900" cy="5238750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4572000" y="1636432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5848865" y="3429000"/>
            <a:ext cx="810698" cy="128304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601362" y="4959181"/>
            <a:ext cx="3393989" cy="10589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58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2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896090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4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379" y="775985"/>
            <a:ext cx="7953117" cy="2424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82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4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sub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332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46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1062" y="1123950"/>
            <a:ext cx="7381875" cy="4610100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571999" y="1435141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5733535" y="3321607"/>
            <a:ext cx="817304" cy="118449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718450" y="4712042"/>
            <a:ext cx="2741442" cy="12027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318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4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538" y="1404958"/>
            <a:ext cx="8743950" cy="348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3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753886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49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7" y="833437"/>
            <a:ext cx="7248525" cy="5191125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608513" y="1624526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5815914" y="3428999"/>
            <a:ext cx="839358" cy="125833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724930" y="4876878"/>
            <a:ext cx="2767913" cy="119706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116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3272" y="569911"/>
            <a:ext cx="6315075" cy="605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502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334707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Building model from </a:t>
            </a:r>
            <a:r>
              <a:rPr lang="en-US" altLang="de-DE" dirty="0" smtClean="0"/>
              <a:t>labeled </a:t>
            </a:r>
            <a:r>
              <a:rPr lang="en-US" altLang="de-DE" dirty="0" err="1" smtClean="0"/>
              <a:t>crowdturfers</a:t>
            </a:r>
            <a:r>
              <a:rPr lang="en-US" altLang="de-DE" dirty="0" smtClean="0"/>
              <a:t> and labeled good </a:t>
            </a:r>
            <a:r>
              <a:rPr lang="en-US" altLang="de-DE" dirty="0" smtClean="0"/>
              <a:t>actors, and automatic bot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791770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51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2" y="1109662"/>
            <a:ext cx="8648700" cy="3724275"/>
          </a:xfrm>
          <a:prstGeom prst="rect">
            <a:avLst/>
          </a:prstGeom>
        </p:spPr>
      </p:pic>
      <p:sp>
        <p:nvSpPr>
          <p:cNvPr id="15" name="Rectangle 4"/>
          <p:cNvSpPr txBox="1">
            <a:spLocks/>
          </p:cNvSpPr>
          <p:nvPr/>
        </p:nvSpPr>
        <p:spPr>
          <a:xfrm>
            <a:off x="841644" y="4982592"/>
            <a:ext cx="2539911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err="1" smtClean="0"/>
              <a:t>Crowdturfers</a:t>
            </a:r>
            <a:r>
              <a:rPr lang="en-US" altLang="de-DE" dirty="0" smtClean="0"/>
              <a:t> + bots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6" name="Rectangle 4"/>
          <p:cNvSpPr txBox="1">
            <a:spLocks/>
          </p:cNvSpPr>
          <p:nvPr/>
        </p:nvSpPr>
        <p:spPr>
          <a:xfrm>
            <a:off x="5755825" y="4982591"/>
            <a:ext cx="2539911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/>
              <a:t>G</a:t>
            </a:r>
            <a:r>
              <a:rPr lang="en-US" altLang="de-DE" dirty="0" smtClean="0"/>
              <a:t>ood actors</a:t>
            </a:r>
            <a:endParaRPr lang="en-US" altLang="de-DE" dirty="0" smtClean="0"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395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Finding </a:t>
            </a:r>
            <a:r>
              <a:rPr lang="en-US" altLang="de-DE" dirty="0" err="1" smtClean="0"/>
              <a:t>author_type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060353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Influential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265724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5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0891" y="167451"/>
            <a:ext cx="5432795" cy="661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9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5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495800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56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978" y="1102204"/>
            <a:ext cx="7570911" cy="329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29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5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198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58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803" y="924867"/>
            <a:ext cx="8742765" cy="4729882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798052" y="1179259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6117894" y="3629161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183043" y="4828232"/>
            <a:ext cx="3043236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874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59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470" y="1351788"/>
            <a:ext cx="8235033" cy="281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294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Finding </a:t>
            </a:r>
            <a:r>
              <a:rPr lang="en-US" altLang="de-DE" dirty="0" err="1" smtClean="0"/>
              <a:t>author_type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958433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662958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61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137" y="974461"/>
            <a:ext cx="7893166" cy="4881300"/>
          </a:xfrm>
          <a:prstGeom prst="rect">
            <a:avLst/>
          </a:prstGeom>
        </p:spPr>
      </p:pic>
      <p:sp>
        <p:nvSpPr>
          <p:cNvPr id="12" name="Oval 11"/>
          <p:cNvSpPr/>
          <p:nvPr/>
        </p:nvSpPr>
        <p:spPr>
          <a:xfrm>
            <a:off x="4437062" y="1799512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5750043" y="3981995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343258" y="5082042"/>
            <a:ext cx="2563844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166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3 </a:t>
            </a:r>
            <a:r>
              <a:rPr lang="en-US" altLang="de-DE" dirty="0" smtClean="0"/>
              <a:t>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619957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6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103" y="983374"/>
            <a:ext cx="7615367" cy="2671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97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6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899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6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849" y="1048231"/>
            <a:ext cx="8214901" cy="4317399"/>
          </a:xfrm>
          <a:prstGeom prst="rect">
            <a:avLst/>
          </a:prstGeom>
        </p:spPr>
      </p:pic>
      <p:sp>
        <p:nvSpPr>
          <p:cNvPr id="12" name="Oval 11"/>
          <p:cNvSpPr/>
          <p:nvPr/>
        </p:nvSpPr>
        <p:spPr>
          <a:xfrm>
            <a:off x="4525122" y="1252784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6552329" y="3318610"/>
            <a:ext cx="939113" cy="94283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263673" y="4599511"/>
            <a:ext cx="2686561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66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66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050" y="1191265"/>
            <a:ext cx="7922700" cy="365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748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530522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68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461" y="1176130"/>
            <a:ext cx="8096644" cy="4257996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705080" y="1406584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420354" y="4753960"/>
            <a:ext cx="2520180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067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2 </a:t>
            </a:r>
            <a:r>
              <a:rPr lang="en-US" altLang="de-DE" dirty="0" smtClean="0"/>
              <a:t>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617754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5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716780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7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591" y="983374"/>
            <a:ext cx="7916659" cy="2655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457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71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287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72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518" y="1058975"/>
            <a:ext cx="8593851" cy="4500464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4661779" y="1265152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6026118" y="364604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188912" y="4809783"/>
            <a:ext cx="3184016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644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7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490" y="1351788"/>
            <a:ext cx="8247722" cy="296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371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06895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7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876" y="864468"/>
            <a:ext cx="7500707" cy="4655611"/>
          </a:xfrm>
          <a:prstGeom prst="rect">
            <a:avLst/>
          </a:prstGeom>
        </p:spPr>
      </p:pic>
      <p:sp>
        <p:nvSpPr>
          <p:cNvPr id="12" name="Oval 11"/>
          <p:cNvSpPr/>
          <p:nvPr/>
        </p:nvSpPr>
        <p:spPr>
          <a:xfrm>
            <a:off x="4138956" y="162698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303589" y="4761839"/>
            <a:ext cx="2413732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447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1685077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Finding </a:t>
            </a:r>
            <a:r>
              <a:rPr lang="en-US" altLang="de-DE" dirty="0" err="1" smtClean="0"/>
              <a:t>author_sub_type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123711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7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2975351" y="5523111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sp>
        <p:nvSpPr>
          <p:cNvPr id="15" name="Rectangle 4"/>
          <p:cNvSpPr txBox="1">
            <a:spLocks/>
          </p:cNvSpPr>
          <p:nvPr/>
        </p:nvSpPr>
        <p:spPr>
          <a:xfrm>
            <a:off x="518765" y="5006844"/>
            <a:ext cx="1178769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Privates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6" name="Rectangle 4"/>
          <p:cNvSpPr txBox="1">
            <a:spLocks/>
          </p:cNvSpPr>
          <p:nvPr/>
        </p:nvSpPr>
        <p:spPr>
          <a:xfrm>
            <a:off x="7625121" y="5111948"/>
            <a:ext cx="915629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ots</a:t>
            </a:r>
            <a:endParaRPr lang="en-US" altLang="de-DE" dirty="0" smtClean="0">
              <a:latin typeface="Tele-GroteskNor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25" y="1273083"/>
            <a:ext cx="8820150" cy="3686175"/>
          </a:xfrm>
          <a:prstGeom prst="rect">
            <a:avLst/>
          </a:prstGeom>
        </p:spPr>
      </p:pic>
      <p:sp>
        <p:nvSpPr>
          <p:cNvPr id="12" name="Rectangle 4"/>
          <p:cNvSpPr txBox="1">
            <a:spLocks/>
          </p:cNvSpPr>
          <p:nvPr/>
        </p:nvSpPr>
        <p:spPr>
          <a:xfrm>
            <a:off x="2751088" y="5006843"/>
            <a:ext cx="1458603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Companies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3" name="Rectangle 4"/>
          <p:cNvSpPr txBox="1">
            <a:spLocks/>
          </p:cNvSpPr>
          <p:nvPr/>
        </p:nvSpPr>
        <p:spPr>
          <a:xfrm>
            <a:off x="4758171" y="5078666"/>
            <a:ext cx="1763373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err="1" smtClean="0"/>
              <a:t>Crowdturfers</a:t>
            </a:r>
            <a:endParaRPr lang="en-US" altLang="de-DE" dirty="0" smtClean="0"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332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Influential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228669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79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7463" y="158748"/>
            <a:ext cx="5183070" cy="6504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146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7466" y="569911"/>
            <a:ext cx="6377452" cy="357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330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5 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159950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1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801" y="892655"/>
            <a:ext cx="7796768" cy="384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718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2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sub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911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511" y="910871"/>
            <a:ext cx="8281701" cy="5107229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4576918" y="1070890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894543" y="3212836"/>
            <a:ext cx="939113" cy="144542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319177" y="4727276"/>
            <a:ext cx="3907766" cy="149237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4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4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914400"/>
            <a:ext cx="8170084" cy="4735286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67" y="1179260"/>
            <a:ext cx="9053292" cy="3415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700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288450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6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14" name="Oval 13"/>
          <p:cNvSpPr/>
          <p:nvPr/>
        </p:nvSpPr>
        <p:spPr>
          <a:xfrm>
            <a:off x="5720450" y="3429000"/>
            <a:ext cx="939113" cy="122537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328" y="746543"/>
            <a:ext cx="7834853" cy="5473102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4407754" y="1667973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85395" y="5153092"/>
            <a:ext cx="3856877" cy="117251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5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3 </a:t>
            </a:r>
            <a:r>
              <a:rPr lang="en-US" altLang="de-DE" dirty="0" smtClean="0"/>
              <a:t>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51509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8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462" y="910430"/>
            <a:ext cx="7951861" cy="4317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30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89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sub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898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9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087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90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247" y="598014"/>
            <a:ext cx="8161503" cy="5242114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5720450" y="3016315"/>
            <a:ext cx="939113" cy="13400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4463540" y="952970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252637" y="4597879"/>
            <a:ext cx="4466012" cy="142022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968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91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914400"/>
            <a:ext cx="8170084" cy="4735286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769" y="983374"/>
            <a:ext cx="8829675" cy="352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03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2956899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93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-1087953" y="2522408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018" y="627977"/>
            <a:ext cx="7809726" cy="5499519"/>
          </a:xfrm>
          <a:prstGeom prst="rect">
            <a:avLst/>
          </a:prstGeom>
        </p:spPr>
      </p:pic>
      <p:sp>
        <p:nvSpPr>
          <p:cNvPr id="12" name="Oval 11"/>
          <p:cNvSpPr/>
          <p:nvPr/>
        </p:nvSpPr>
        <p:spPr>
          <a:xfrm>
            <a:off x="4395546" y="1452222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318833" y="4993285"/>
            <a:ext cx="3528548" cy="136438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477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2 </a:t>
            </a:r>
            <a:r>
              <a:rPr lang="en-US" altLang="de-DE" dirty="0" smtClean="0"/>
              <a:t>top features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377921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95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Ranked attributes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64" y="904895"/>
            <a:ext cx="8831296" cy="2778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75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96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Bad actors’ pilot (cont.)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10-fold cross validation.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I used as evaluator: </a:t>
            </a:r>
            <a:r>
              <a:rPr lang="en-US" sz="2400" dirty="0" err="1" smtClean="0"/>
              <a:t>InfoGainAttributeEval</a:t>
            </a:r>
            <a:endParaRPr lang="en-US" sz="2400" dirty="0" smtClean="0"/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Search as Ranker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ifier as J48 </a:t>
            </a:r>
          </a:p>
          <a:p>
            <a:pPr marL="344488" lvl="1" indent="-342900" eaLnBrk="1" hangingPunct="1">
              <a:buSzTx/>
              <a:buFont typeface="Arial" panose="020B0604020202020204" pitchFamily="34" charset="0"/>
              <a:buChar char="•"/>
            </a:pPr>
            <a:r>
              <a:rPr lang="en-US" sz="2400" dirty="0" smtClean="0"/>
              <a:t>Class: </a:t>
            </a:r>
            <a:r>
              <a:rPr lang="en-US" sz="2400" dirty="0" err="1" smtClean="0"/>
              <a:t>author_sub_type</a:t>
            </a: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17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97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Summary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775986"/>
            <a:ext cx="8496300" cy="4873700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226" y="673734"/>
            <a:ext cx="8370574" cy="5263067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4724668" y="977660"/>
            <a:ext cx="939113" cy="7661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315264" y="4828272"/>
            <a:ext cx="4282615" cy="123487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025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3647CE-A11D-4BD5-8DD4-1705B598AA53}" type="datetime1">
              <a:rPr lang="de-DE" altLang="de-DE" smtClean="0"/>
              <a:pPr>
                <a:defRPr/>
              </a:pPr>
              <a:t>01.08.2016</a:t>
            </a:fld>
            <a:endParaRPr lang="de-DE" alt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 smtClean="0"/>
              <a:t>– Streng vertraulich, Vertraulich, Intern –                         Autor / Thema der Präsentation</a:t>
            </a:r>
            <a:endParaRPr lang="de-DE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BA24B-737B-4EC6-A3AF-31B450567882}" type="slidenum">
              <a:rPr lang="de-DE" altLang="de-DE" smtClean="0"/>
              <a:pPr>
                <a:defRPr/>
              </a:pPr>
              <a:t>98</a:t>
            </a:fld>
            <a:endParaRPr lang="de-DE" altLang="de-DE"/>
          </a:p>
        </p:txBody>
      </p:sp>
      <p:sp>
        <p:nvSpPr>
          <p:cNvPr id="5" name="Rectangle 4"/>
          <p:cNvSpPr txBox="1">
            <a:spLocks/>
          </p:cNvSpPr>
          <p:nvPr/>
        </p:nvSpPr>
        <p:spPr>
          <a:xfrm>
            <a:off x="188912" y="158748"/>
            <a:ext cx="8886548" cy="411163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SzTx/>
              <a:buFontTx/>
            </a:pPr>
            <a:r>
              <a:rPr lang="en-US" altLang="de-DE" dirty="0" smtClean="0"/>
              <a:t>Decision tree:</a:t>
            </a:r>
            <a:endParaRPr lang="en-US" altLang="de-DE" dirty="0" smtClean="0">
              <a:latin typeface="Tele-GroteskNor" pitchFamily="2" charset="0"/>
            </a:endParaRPr>
          </a:p>
        </p:txBody>
      </p:sp>
      <p:sp>
        <p:nvSpPr>
          <p:cNvPr id="10" name="Rectangle 4"/>
          <p:cNvSpPr txBox="1">
            <a:spLocks/>
          </p:cNvSpPr>
          <p:nvPr/>
        </p:nvSpPr>
        <p:spPr>
          <a:xfrm>
            <a:off x="188912" y="914400"/>
            <a:ext cx="8170084" cy="4735286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SzTx/>
            </a:pPr>
            <a:endParaRPr lang="en-US" sz="2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024641" y="5520079"/>
            <a:ext cx="1412421" cy="498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e-IL" dirty="0" err="1" smtClean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2" y="914400"/>
            <a:ext cx="8753725" cy="355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072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ctrTitle"/>
          </p:nvPr>
        </p:nvSpPr>
        <p:spPr>
          <a:xfrm>
            <a:off x="2070257" y="2710352"/>
            <a:ext cx="5326601" cy="85408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Running test set </a:t>
            </a:r>
            <a:endParaRPr altLang="de-DE" dirty="0"/>
          </a:p>
        </p:txBody>
      </p:sp>
    </p:spTree>
    <p:extLst>
      <p:ext uri="{BB962C8B-B14F-4D97-AF65-F5344CB8AC3E}">
        <p14:creationId xmlns:p14="http://schemas.microsoft.com/office/powerpoint/2010/main" val="885409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10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6x0EVZmEm.xq1eSHX6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XBx4pw_keK8RSGiHnH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02lICoakKlNvnu9koG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.Wy9QRbECAfChDC3s3zQ"/>
</p:tagLst>
</file>

<file path=ppt/theme/theme1.xml><?xml version="1.0" encoding="utf-8"?>
<a:theme xmlns:a="http://schemas.openxmlformats.org/drawingml/2006/main" name="1_TELEKOM_Master_DE_RC6 Kopie">
  <a:themeElements>
    <a:clrScheme name="TELEKOM_Master_DE_RC6 Kopie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LEKOM_Master_DE_RC6 Kopie">
  <a:themeElements>
    <a:clrScheme name="TELEKOM_Master_DE_RC6 Kopie 5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merkungen xmlns="9c7a3f5a-103c-4077-9cda-80f1a39582e5" xsi:nil="true"/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28478EA2AD1D489471C4B5515777C3" ma:contentTypeVersion="1" ma:contentTypeDescription="Create a new document." ma:contentTypeScope="" ma:versionID="35d3ae60f4dbd19a68ac3a2a42a570a1">
  <xsd:schema xmlns:xsd="http://www.w3.org/2001/XMLSchema" xmlns:xs="http://www.w3.org/2001/XMLSchema" xmlns:p="http://schemas.microsoft.com/office/2006/metadata/properties" xmlns:ns1="http://schemas.microsoft.com/sharepoint/v3" xmlns:ns2="9c7a3f5a-103c-4077-9cda-80f1a39582e5" targetNamespace="http://schemas.microsoft.com/office/2006/metadata/properties" ma:root="true" ma:fieldsID="c97caf6035d8bdc6b1bdf3333dc24de1" ns1:_="" ns2:_="">
    <xsd:import namespace="http://schemas.microsoft.com/sharepoint/v3"/>
    <xsd:import namespace="9c7a3f5a-103c-4077-9cda-80f1a39582e5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Bemerkung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7a3f5a-103c-4077-9cda-80f1a39582e5" elementFormDefault="qualified">
    <xsd:import namespace="http://schemas.microsoft.com/office/2006/documentManagement/types"/>
    <xsd:import namespace="http://schemas.microsoft.com/office/infopath/2007/PartnerControls"/>
    <xsd:element name="Bemerkungen" ma:index="10" nillable="true" ma:displayName="Comments" ma:default="" ma:internalName="Bemerkungen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82EF20B-302E-40BB-A54A-A061368995BE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F7BD1586-89C3-4104-84AC-9EE2E83067CD}">
  <ds:schemaRefs>
    <ds:schemaRef ds:uri="http://schemas.microsoft.com/sharepoint/v3"/>
    <ds:schemaRef ds:uri="9c7a3f5a-103c-4077-9cda-80f1a39582e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0B783952-990F-40EC-88E4-15BAE755988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4BE1329-9AE7-4C23-80B7-8F115BD7A5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c7a3f5a-103c-4077-9cda-80f1a39582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32</TotalTime>
  <Words>2288</Words>
  <Application>Microsoft Office PowerPoint</Application>
  <PresentationFormat>On-screen Show (4:3)</PresentationFormat>
  <Paragraphs>524</Paragraphs>
  <Slides>14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4</vt:i4>
      </vt:variant>
    </vt:vector>
  </HeadingPairs>
  <TitlesOfParts>
    <vt:vector size="154" baseType="lpstr">
      <vt:lpstr>Arial</vt:lpstr>
      <vt:lpstr>TeleGrotesk Headline Ultra</vt:lpstr>
      <vt:lpstr>Tele-GroteskFet</vt:lpstr>
      <vt:lpstr>Tele-GroteskNor</vt:lpstr>
      <vt:lpstr>Tele-GroteskUlt</vt:lpstr>
      <vt:lpstr>Wingdings</vt:lpstr>
      <vt:lpstr>1_TELEKOM_Master_DE_RC6 Kopie</vt:lpstr>
      <vt:lpstr>TELEKOM_Master_DE_RC6 Kopie</vt:lpstr>
      <vt:lpstr>think-cell Folie</vt:lpstr>
      <vt:lpstr>think-cell Slide</vt:lpstr>
      <vt:lpstr>Supervised learning results</vt:lpstr>
      <vt:lpstr>Building model from labeled crowdturfers and labeled good actors</vt:lpstr>
      <vt:lpstr>PowerPoint Presentation</vt:lpstr>
      <vt:lpstr>Influential features</vt:lpstr>
      <vt:lpstr>PowerPoint Presentation</vt:lpstr>
      <vt:lpstr>Finding author_type</vt:lpstr>
      <vt:lpstr>5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3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2 top features</vt:lpstr>
      <vt:lpstr>PowerPoint Presentation</vt:lpstr>
      <vt:lpstr>PowerPoint Presentation</vt:lpstr>
      <vt:lpstr>Running test set </vt:lpstr>
      <vt:lpstr>PowerPoint Presentation</vt:lpstr>
      <vt:lpstr>Finding author_sub_type</vt:lpstr>
      <vt:lpstr>Influential features</vt:lpstr>
      <vt:lpstr>PowerPoint Presentation</vt:lpstr>
      <vt:lpstr>5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3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2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Building model from labeled crowdturfers and labeled good actors, and automatic bots</vt:lpstr>
      <vt:lpstr>PowerPoint Presentation</vt:lpstr>
      <vt:lpstr>Finding author_type</vt:lpstr>
      <vt:lpstr>Influential features</vt:lpstr>
      <vt:lpstr>PowerPoint Presentation</vt:lpstr>
      <vt:lpstr>5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3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2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Finding author_sub_type</vt:lpstr>
      <vt:lpstr>PowerPoint Presentation</vt:lpstr>
      <vt:lpstr>Influential features</vt:lpstr>
      <vt:lpstr>PowerPoint Presentation</vt:lpstr>
      <vt:lpstr>5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3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2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PowerPoint Presentation</vt:lpstr>
      <vt:lpstr>Finding author_type (author sub type attribute is included)</vt:lpstr>
      <vt:lpstr>PowerPoint Presentation</vt:lpstr>
      <vt:lpstr>5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3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2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Finding author_sub_type (author type attribute is included)</vt:lpstr>
      <vt:lpstr>3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  <vt:lpstr>2 top features</vt:lpstr>
      <vt:lpstr>PowerPoint Presentation</vt:lpstr>
      <vt:lpstr>PowerPoint Presentation</vt:lpstr>
      <vt:lpstr>PowerPoint Presentation</vt:lpstr>
      <vt:lpstr>PowerPoint Presentation</vt:lpstr>
      <vt:lpstr>Running test set </vt:lpstr>
      <vt:lpstr>PowerPoint Presentation</vt:lpstr>
    </vt:vector>
  </TitlesOfParts>
  <Company>Interbran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ank Mueller</dc:creator>
  <cp:lastModifiedBy>User</cp:lastModifiedBy>
  <cp:revision>1307</cp:revision>
  <cp:lastPrinted>2012-09-04T09:22:48Z</cp:lastPrinted>
  <dcterms:created xsi:type="dcterms:W3CDTF">2011-07-07T11:12:14Z</dcterms:created>
  <dcterms:modified xsi:type="dcterms:W3CDTF">2016-08-01T07:3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f2470000000000010250600207b98007b004f000</vt:lpwstr>
  </property>
</Properties>
</file>